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9" d="100"/>
          <a:sy n="109" d="100"/>
        </p:scale>
        <p:origin x="734" y="82"/>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504911576740711E-4"/>
          <c:y val="0"/>
          <c:w val="0.9991549508842325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96DB469C-5718-48FF-8613-6ACFE9FC67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C6EE0BE7-6E5B-4DDB-9E2F-15988E4A59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23041307-C9B2-4DBE-B853-985C96AE4D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B690564-F825-4774-95F6-D481305D9E2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D683A2B-D6EF-4055-A474-DDBA277195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5DC6821-BE40-4BE9-9D63-B2E6C5BC05E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77CCE44-33BA-427C-AABD-8C254752B73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7644DBD-39B0-4977-9DB5-9CBFCF218E0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64C95000-37A9-4888-82BD-2CF197E3FF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2E1C2C3E-83DA-48F0-B975-7B9059ABDFD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98E19EBC-4416-4ABB-9370-9493D6D1624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F7D12E07-940C-4EA7-A852-5920C7DC2D9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17FD8714-2C4B-490C-85FD-A200499AB44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B9D033F5-C3FB-4157-8047-8DC4436C870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D7B00B0F-EFB3-4440-AE0F-A2DB0054007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DC7969CC-3398-47E9-90FF-E6D3AB512C8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48FB70C9-C0F7-4B38-B1F5-64104488AF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35B4D1E5-83B9-49AB-BD80-071D18E04B6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35A721E8-B6C2-4C0C-96D2-DE6F9FF1717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25BDBFE5-B84E-4A1F-8B45-B8E52CD7DE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0DAC6485-DF65-4CEB-9987-ACFB36AA93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6CA0E819-B403-407F-A962-60987E1665C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946C8BE0-EEC4-42C3-9863-FCAC50BEED2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5CEC2286-660A-4CA2-8E2E-B50FFBC2F62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5B1814C7-7E89-4E95-AC80-DC7AE40284A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0ED877D8-4AC1-41D7-8EF5-47E1986522D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70FB2B35-B076-4464-883F-06AC609E6EB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FA4CBDEE-6C67-4854-BD0D-F77037F7EC4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DC351E3C-7595-4087-B916-D264814E2A4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ABBBD44A-911C-44D8-955E-A026832872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B14244B0-8931-4321-A1E1-4872DA2F682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A5FBD66-A545-40A4-8A52-E15391C659E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1F512E00-502C-49DA-9A73-63986B9C05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200F047E-4918-4C0F-8F98-6AA1C6125F2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3291C012-A60E-4994-8161-F6F2560CFD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30634972-EEDA-43B6-B824-90E7A106776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45D814C8-CE80-49B6-82C0-08E205429D3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0D60885F-44B4-4D1B-887C-47754CE64FE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BD4313B1-4998-444A-85E3-E2205D59D76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D4E7149F-5986-4E3D-A542-19B2C5CE6C2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A95204B0-D54B-41C4-A310-E70B36FCC3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7BCE4598-5E54-49B3-B5B4-92CC3BFDF2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E7910FF6-E2C7-4898-A8FD-90DFEFFDD44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516B7017-1FDC-4F63-932E-CB9172FB9FB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E3BA65CE-2C14-448D-BB6C-751EA9D4878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2DF2F4EC-8899-476F-8DBA-E10F4AED07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0771C4E7-455B-4B9A-ACCA-137646D0483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3966534-2771-46C0-BE13-2668B668400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98B62DF-DC38-44B4-9B1F-258DFA69B69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74066F62-5F0D-4DDA-879D-7A55D4C7F63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BA4D813E-0802-4F92-A090-7B366D1F9EE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32DF3277-A7E8-4C40-B1CE-5F8C26667CC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3B303B0C-B064-479E-AFCC-B76C6687AB1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7F2DEC09-6C88-4A92-B9E7-9C08E3B5F0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59A7873-4B6C-430B-B86E-61038B94294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AEEA073A-99FD-4559-9DEA-CCF10F8F284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762C1AB5-CC57-404E-9F9D-C49D50CEAD4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5F33C744-3DCF-4094-859B-9CDE9E4ABEC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5C8557D6-B64C-4F55-BBC3-78D21C4D7FA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4044E4F7-87A8-41BB-99AD-E5A05FF650A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3CA4E43-FD35-4017-A5AE-AC64FFF336F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47D7B267-320E-4CA4-BE52-C4BF02675FB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0BE59AE1-1EAE-4EC8-8E8C-A3F370A2A18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86563875-B8AB-45A8-BD79-F96F3D2CFE8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2DA399E1-1D40-45DE-A99B-AD0A82AC99B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88E4AABF-AACF-474C-87C0-26711FDEF95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5FBCAD7A-2701-43A0-AAB0-22FADE6F02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1D2B0445-C1EB-425A-9CCB-ACE1873B86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BB18CD82-F6CB-4C12-98CA-5B280F430F0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D28CF682-D4EC-4441-BE06-BC0FEC26634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41E2A5D6-CBAD-4148-B5F4-4FC958EDF8D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ADCEB570-563A-4D1D-9813-0CA9AFC02F5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69EFE4D1-C5AC-48DA-9018-E28E47DF1B8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AE4D8EF0-8844-4E26-B283-B2F9A20B0E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939EF93B-3B55-4B05-B60B-AC42EC692F8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10B213D9-18BC-43B3-B246-34265C7E24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46EB16C0-E6AE-421E-A245-6653339AAF9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10821B0F-E757-4F9A-A3B0-07AFBCEE3A6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0196D686-EA19-447E-8B83-B2AA9C8DE93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25BC44BA-9E45-4CAD-9DE6-31D753E736A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5B5D39EC-AEE0-4FC8-9D0A-11C354C32D6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16ED8702-95B3-4C2D-8078-E0CC9390B9F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357C22F9-1E53-4858-B870-A433238D708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20E7F52D-AC59-4CF1-8C37-B79514ECC94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6CAB5647-6101-4410-9C22-2D6FBFDFDCD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AE5BC483-ECB4-424E-9029-E8CF4C5FB5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FA0FD71F-D784-4011-A55C-296B8DB998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79DB2FD0-AA96-490F-8C44-9B3376E364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29A3934D-3A35-4FA4-82DC-A8197E08871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E2CA21E8-9455-45C8-BF70-FA0429CD009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B9360D00-3E08-45A0-9CC6-AE6933116F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D1350E0A-C194-468B-A630-3710DE3E720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55725548-3A92-445F-8A5C-21E4E46704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2F42EC61-0F94-4332-8A51-4AC267AFFCB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710B787B-41F3-4480-BE65-99C18EB4944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8A758C2E-3591-4786-8A3C-0E1904AFB92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59218D24-9EBB-456F-8B11-931CA5AB2A7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8ED869F4-4926-49FC-836B-92E5A4B70FA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EE5A1AE-39EF-4150-80A7-435DA976F35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DEC89F5B-74EA-4782-A4A9-8D6B9D9F649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F15E81A9-3C38-4A73-8D75-D39923BE512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5C10E1ED-3D93-4AAF-AD3A-03F1E7F8D4E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E1F8E113-2921-42B8-B1DA-A20B68FEA2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3B4FDCF0-25BC-4DCD-A608-B0EAE5B010C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54B5AFA4-2B93-4450-9333-84C4350F2DA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9BFB6D0E-C9A0-4111-9538-F31D8642F36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A62161D1-4DBE-4B20-97B2-C72AE377294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B5D983A8-BBEF-4F4A-8BA9-F37FF2FC55D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03E9D5CF-0498-4D02-8C13-8877EC71034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2413D79A-CA9A-4465-BF07-255C9D5BFF7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A90E2AF9-C84E-4710-9CF2-6510567C1E8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100EF353-76D6-4C59-AF14-2D894BE25EF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F8CD8924-B73A-4564-881B-23E63B0B596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1BA090E-91CF-46AB-9F03-B8CDBDA312F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C8FC2B34-E89F-4FDB-A49F-2912C8BE608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55DE6F8C-A48A-44CD-B984-FB30371CA51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F7583E2-35EB-4CF1-A51D-F37905A9C875}" type="CELLRANGE">
                      <a:rPr lang="en-US"/>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B66DEA59-37DD-4378-94F3-7EEB50CBE66D}"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687ABA3C-9BE3-4575-AA6C-AAAB558A4899}"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A2ACED4E-07D0-46A5-87E0-B75CD4221C91}"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0DEDDCC6-F9C6-4FC8-A3ED-5FEA9BDD6CB1}"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598E80D7-9893-4A02-9066-CDAC435525FB}"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FBCED137-10E9-4D4D-B035-6601E01834E6}"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7F83513B-AB46-4C7F-8302-5535C06ECD2C}"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763371B-B824-4A07-B795-B9CD1897E351}"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B712F857-AFD8-4CEC-AD5B-8BE99DB392B0}"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EFE77991-F86C-4D14-9103-95B5640BB69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C3B9A94C-2FB8-48FD-AEDE-E1554989C742}"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BCB45C85-3B68-45ED-AB44-A8505603923A}"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30DCC187-DFB1-48F3-9B43-7C131036D6DF}"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2E1459FE-6E66-4065-B724-B2436A341264}"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2DB4CB3-A311-4032-B942-3ACE16CC05F9}"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4395E6ED-15F2-440E-9F5A-8BA9F77337C0}"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ABEF01CF-0497-41D6-8841-21DEB51487EC}"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E804503-1144-4589-A7A2-43CBC0C1D1BF}"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9C96243-1189-4617-97E3-58C97C79637F}"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1B184F20-5269-4F92-95EF-2CBCCE39A8E6}"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312BC5F0-8ADF-43C5-8056-0EFFC565E853}"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59B061B1-7FC2-437A-B510-0A2707C0CC1A}"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D61A2E21-7F22-4AB0-B419-01CA519D580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0DFE29C-080F-4A30-A737-33596A663853}"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E24102C1-1FFA-4B59-A790-4B401C80C0A8}"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07F5FAB-A449-4ADE-8175-11AFFCBAD817}"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2F37592D-3290-4937-8FD4-18FDB7196ACD}"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EFCEFAF3-153A-4FAC-A892-2680300A97D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A3DE49F-A163-474F-8085-85F92F26C0B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566BDE6F-342D-42A6-8322-B7456706732B}"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408653D2-1076-4F29-969E-E29E4E043969}"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75E91A3D-B79E-4496-B3E9-C85B3747F4CF}"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BD6930D1-0DD1-4B83-AEBC-97EECD8ABD54}"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89FE3CAC-6EF7-44D3-B5E1-BC0B7DA332AE}"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BF9BA77-DD40-45C4-9016-BC159FC52C0E}"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36330BE1-044E-4775-BEDB-EF3AC49B4C66}"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298B0A7D-7007-467C-9782-4AAD09F656B8}"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6D3DEF3-4D8D-4B27-8DC1-3FD251C66292}"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9D7D251-B2D5-4C76-9EC3-F30C7A2A9BD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C30E714-FBDD-4388-9E7D-022CE8C5E87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73227796-17D0-4B8D-9F71-889E39A262E7}"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857F5558-0E19-486F-9942-3BFB4DA3DA50}"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E3471164-16FB-45E8-B554-2A9F744200E1}"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B9B026F-47A2-48CF-B1ED-B15F8BA54977}"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C41781C-B275-4056-BF5D-74CE14268AC0}"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B8C296C3-3B52-47F5-B05C-35526A9117EE}"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F2929F10-2138-4AA7-896C-9C3C196D8855}"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GB"/>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GB"/>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C6F5DD5-5829-4515-A643-911F5004B337}" type="CELLRANGE">
                      <a:rPr lang="en-US"/>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0B7E2E92-66C7-4CE4-9CA7-E22AAC9951D5}" type="CELLRANGE">
                      <a:rPr lang="en-CH"/>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FB8B64DD-E12A-4654-A5EE-AF13A897FF2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738-4A3D-98BB-3D0CBF671497}"/>
                </c:ext>
              </c:extLst>
            </c:dLbl>
            <c:dLbl>
              <c:idx val="3"/>
              <c:tx>
                <c:rich>
                  <a:bodyPr/>
                  <a:lstStyle/>
                  <a:p>
                    <a:fld id="{BB6E9C8C-64FF-468E-B0C8-698BED99BD6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738-4A3D-98BB-3D0CBF671497}"/>
                </c:ext>
              </c:extLst>
            </c:dLbl>
            <c:dLbl>
              <c:idx val="4"/>
              <c:tx>
                <c:rich>
                  <a:bodyPr/>
                  <a:lstStyle/>
                  <a:p>
                    <a:fld id="{43162ACD-E48A-4AB7-A7FF-13C8636AB90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738-4A3D-98BB-3D0CBF671497}"/>
                </c:ext>
              </c:extLst>
            </c:dLbl>
            <c:dLbl>
              <c:idx val="5"/>
              <c:tx>
                <c:rich>
                  <a:bodyPr/>
                  <a:lstStyle/>
                  <a:p>
                    <a:fld id="{F5F65747-0FE8-44D7-BED4-0961B8A1896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738-4A3D-98BB-3D0CBF671497}"/>
                </c:ext>
              </c:extLst>
            </c:dLbl>
            <c:dLbl>
              <c:idx val="6"/>
              <c:tx>
                <c:rich>
                  <a:bodyPr/>
                  <a:lstStyle/>
                  <a:p>
                    <a:fld id="{C42795C0-004E-45CE-B27C-C65FD9B3098D}"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738-4A3D-98BB-3D0CBF671497}"/>
                </c:ext>
              </c:extLst>
            </c:dLbl>
            <c:dLbl>
              <c:idx val="7"/>
              <c:tx>
                <c:rich>
                  <a:bodyPr/>
                  <a:lstStyle/>
                  <a:p>
                    <a:fld id="{CF828542-2588-4FF9-BC99-1C6C1FB46143}"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738-4A3D-98BB-3D0CBF671497}"/>
                </c:ext>
              </c:extLst>
            </c:dLbl>
            <c:dLbl>
              <c:idx val="8"/>
              <c:tx>
                <c:rich>
                  <a:bodyPr/>
                  <a:lstStyle/>
                  <a:p>
                    <a:fld id="{E2634684-EE1D-415C-A47D-EF34A290DF6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738-4A3D-98BB-3D0CBF671497}"/>
                </c:ext>
              </c:extLst>
            </c:dLbl>
            <c:dLbl>
              <c:idx val="9"/>
              <c:tx>
                <c:rich>
                  <a:bodyPr/>
                  <a:lstStyle/>
                  <a:p>
                    <a:fld id="{D2483508-9754-4D1B-856C-1D10C98B70E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738-4A3D-98BB-3D0CBF671497}"/>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738-4A3D-98BB-3D0CBF671497}"/>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413E951C-FBF4-4645-AF2B-DD13FF7CD85C}"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C738-4A3D-98BB-3D0CBF671497}"/>
                </c:ext>
              </c:extLst>
            </c:dLbl>
            <c:dLbl>
              <c:idx val="14"/>
              <c:tx>
                <c:rich>
                  <a:bodyPr/>
                  <a:lstStyle/>
                  <a:p>
                    <a:fld id="{5E327674-038B-4BCB-871E-4E7EB6B23E63}"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C738-4A3D-98BB-3D0CBF671497}"/>
                </c:ext>
              </c:extLst>
            </c:dLbl>
            <c:dLbl>
              <c:idx val="15"/>
              <c:tx>
                <c:rich>
                  <a:bodyPr/>
                  <a:lstStyle/>
                  <a:p>
                    <a:fld id="{DA0ED82A-9B97-4A8B-A7B3-A9AD9A87DDD7}"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738-4A3D-98BB-3D0CBF671497}"/>
                </c:ext>
              </c:extLst>
            </c:dLbl>
            <c:dLbl>
              <c:idx val="1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A664A6A5-EDEB-473A-8208-99D13339A36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C738-4A3D-98BB-3D0CBF671497}"/>
                </c:ext>
              </c:extLst>
            </c:dLbl>
            <c:dLbl>
              <c:idx val="20"/>
              <c:tx>
                <c:rich>
                  <a:bodyPr/>
                  <a:lstStyle/>
                  <a:p>
                    <a:fld id="{315BF4A4-A6A5-485B-BC3D-C80EBC4522C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C738-4A3D-98BB-3D0CBF671497}"/>
                </c:ext>
              </c:extLst>
            </c:dLbl>
            <c:dLbl>
              <c:idx val="21"/>
              <c:tx>
                <c:rich>
                  <a:bodyPr/>
                  <a:lstStyle/>
                  <a:p>
                    <a:fld id="{36D7AA01-52DD-4DFC-AD25-599DA1AE885C}"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C738-4A3D-98BB-3D0CBF671497}"/>
                </c:ext>
              </c:extLst>
            </c:dLbl>
            <c:dLbl>
              <c:idx val="2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3B40C753-A6F4-4090-860E-4BE6A6684A40}"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738-4A3D-98BB-3D0CBF671497}"/>
                </c:ext>
              </c:extLst>
            </c:dLbl>
            <c:dLbl>
              <c:idx val="26"/>
              <c:tx>
                <c:rich>
                  <a:bodyPr/>
                  <a:lstStyle/>
                  <a:p>
                    <a:fld id="{86620569-BD81-49D0-8E41-0E364EF2354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C738-4A3D-98BB-3D0CBF671497}"/>
                </c:ext>
              </c:extLst>
            </c:dLbl>
            <c:dLbl>
              <c:idx val="27"/>
              <c:tx>
                <c:rich>
                  <a:bodyPr/>
                  <a:lstStyle/>
                  <a:p>
                    <a:fld id="{4B0A65E4-B04E-4816-9D2E-493C411664A7}"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738-4A3D-98BB-3D0CBF671497}"/>
                </c:ext>
              </c:extLst>
            </c:dLbl>
            <c:dLbl>
              <c:idx val="28"/>
              <c:tx>
                <c:rich>
                  <a:bodyPr/>
                  <a:lstStyle/>
                  <a:p>
                    <a:fld id="{17D9C5B0-C1CE-433E-A3BD-FC17889034A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C738-4A3D-98BB-3D0CBF671497}"/>
                </c:ext>
              </c:extLst>
            </c:dLbl>
            <c:dLbl>
              <c:idx val="2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6C80370B-810D-4EBB-922A-12A4A7E20E5F}"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738-4A3D-98BB-3D0CBF671497}"/>
                </c:ext>
              </c:extLst>
            </c:dLbl>
            <c:dLbl>
              <c:idx val="32"/>
              <c:tx>
                <c:rich>
                  <a:bodyPr/>
                  <a:lstStyle/>
                  <a:p>
                    <a:fld id="{B8B40DF2-DA28-445E-9DBA-92B330331B60}"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C738-4A3D-98BB-3D0CBF671497}"/>
                </c:ext>
              </c:extLst>
            </c:dLbl>
            <c:dLbl>
              <c:idx val="33"/>
              <c:tx>
                <c:rich>
                  <a:bodyPr/>
                  <a:lstStyle/>
                  <a:p>
                    <a:fld id="{05426A45-1F8B-40BF-8EB2-1D2CBAD83523}"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C738-4A3D-98BB-3D0CBF671497}"/>
                </c:ext>
              </c:extLst>
            </c:dLbl>
            <c:dLbl>
              <c:idx val="3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38FB645F-E503-4D65-B6FA-9D97534E8164}"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C738-4A3D-98BB-3D0CBF671497}"/>
                </c:ext>
              </c:extLst>
            </c:dLbl>
            <c:dLbl>
              <c:idx val="38"/>
              <c:tx>
                <c:rich>
                  <a:bodyPr/>
                  <a:lstStyle/>
                  <a:p>
                    <a:fld id="{FD9A3CAA-6AA8-4D73-B408-FA68666D876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E396D5DD-B3ED-469B-9155-F4D2B5EDDD8D}"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C738-4A3D-98BB-3D0CBF671497}"/>
                </c:ext>
              </c:extLst>
            </c:dLbl>
            <c:dLbl>
              <c:idx val="4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80CCC9F1-7D6C-4A39-AD37-7DB0F72AEF4B}"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C738-4A3D-98BB-3D0CBF671497}"/>
                </c:ext>
              </c:extLst>
            </c:dLbl>
            <c:dLbl>
              <c:idx val="44"/>
              <c:tx>
                <c:rich>
                  <a:bodyPr/>
                  <a:lstStyle/>
                  <a:p>
                    <a:fld id="{04B1CB0D-E167-4F91-ADEB-2FF9CAAED0C3}"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C738-4A3D-98BB-3D0CBF671497}"/>
                </c:ext>
              </c:extLst>
            </c:dLbl>
            <c:dLbl>
              <c:idx val="45"/>
              <c:tx>
                <c:rich>
                  <a:bodyPr/>
                  <a:lstStyle/>
                  <a:p>
                    <a:fld id="{468D1B66-60B1-47ED-BC26-A127F7DED71E}"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C738-4A3D-98BB-3D0CBF671497}"/>
                </c:ext>
              </c:extLst>
            </c:dLbl>
            <c:dLbl>
              <c:idx val="4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DA403DC7-8433-4480-847A-D8505D653E4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C738-4A3D-98BB-3D0CBF671497}"/>
                </c:ext>
              </c:extLst>
            </c:dLbl>
            <c:dLbl>
              <c:idx val="50"/>
              <c:tx>
                <c:rich>
                  <a:bodyPr/>
                  <a:lstStyle/>
                  <a:p>
                    <a:fld id="{51E3F130-A967-4EE8-806E-44F0C638945D}"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C738-4A3D-98BB-3D0CBF671497}"/>
                </c:ext>
              </c:extLst>
            </c:dLbl>
            <c:dLbl>
              <c:idx val="51"/>
              <c:tx>
                <c:rich>
                  <a:bodyPr/>
                  <a:lstStyle/>
                  <a:p>
                    <a:fld id="{8866AA9A-2080-4B28-BBA5-CF9AE45517D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ED046E7-6FEC-4430-9203-C47F9710FA3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DEEEA7E-E626-4075-9E9F-34CA280AC837}" type="CELLRANGE">
                      <a:rPr lang="en-CH"/>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6A04410D-F1AB-47B5-BCD2-149887C6841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7E-4F29-87DF-0FE64D0B037A}"/>
                </c:ext>
              </c:extLst>
            </c:dLbl>
            <c:dLbl>
              <c:idx val="3"/>
              <c:tx>
                <c:rich>
                  <a:bodyPr/>
                  <a:lstStyle/>
                  <a:p>
                    <a:fld id="{C8BD926B-E038-4723-A16F-7EC533C5B8DE}"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7E-4F29-87DF-0FE64D0B037A}"/>
                </c:ext>
              </c:extLst>
            </c:dLbl>
            <c:dLbl>
              <c:idx val="4"/>
              <c:tx>
                <c:rich>
                  <a:bodyPr/>
                  <a:lstStyle/>
                  <a:p>
                    <a:fld id="{72FDB2ED-6D98-4E27-908C-A6D26B748E1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7E-4F29-87DF-0FE64D0B037A}"/>
                </c:ext>
              </c:extLst>
            </c:dLbl>
            <c:dLbl>
              <c:idx val="5"/>
              <c:tx>
                <c:rich>
                  <a:bodyPr/>
                  <a:lstStyle/>
                  <a:p>
                    <a:fld id="{C16FAD5D-4EAF-455A-82D7-3C2368169EE7}"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7E-4F29-87DF-0FE64D0B037A}"/>
                </c:ext>
              </c:extLst>
            </c:dLbl>
            <c:dLbl>
              <c:idx val="6"/>
              <c:tx>
                <c:rich>
                  <a:bodyPr/>
                  <a:lstStyle/>
                  <a:p>
                    <a:fld id="{E0CE08F3-4021-46C4-AECE-832BF70EAD8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77E-4F29-87DF-0FE64D0B037A}"/>
                </c:ext>
              </c:extLst>
            </c:dLbl>
            <c:dLbl>
              <c:idx val="7"/>
              <c:tx>
                <c:rich>
                  <a:bodyPr/>
                  <a:lstStyle/>
                  <a:p>
                    <a:fld id="{79B67D90-FF91-4640-9ADB-32748710F68E}"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77E-4F29-87DF-0FE64D0B037A}"/>
                </c:ext>
              </c:extLst>
            </c:dLbl>
            <c:dLbl>
              <c:idx val="8"/>
              <c:tx>
                <c:rich>
                  <a:bodyPr/>
                  <a:lstStyle/>
                  <a:p>
                    <a:fld id="{DC61513E-92EB-4CD6-BE6A-3D970FA6064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77E-4F29-87DF-0FE64D0B037A}"/>
                </c:ext>
              </c:extLst>
            </c:dLbl>
            <c:dLbl>
              <c:idx val="9"/>
              <c:tx>
                <c:rich>
                  <a:bodyPr/>
                  <a:lstStyle/>
                  <a:p>
                    <a:fld id="{9C436A8B-4BFA-4A9B-BC50-862E28F5DE0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77E-4F29-87DF-0FE64D0B037A}"/>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B77E-4F29-87DF-0FE64D0B037A}"/>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094AE4CB-E8B6-492F-9365-EA000AF7FE5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77E-4F29-87DF-0FE64D0B037A}"/>
                </c:ext>
              </c:extLst>
            </c:dLbl>
            <c:dLbl>
              <c:idx val="14"/>
              <c:tx>
                <c:rich>
                  <a:bodyPr/>
                  <a:lstStyle/>
                  <a:p>
                    <a:fld id="{17B51893-7583-4539-90B9-E0C86BD9353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77E-4F29-87DF-0FE64D0B037A}"/>
                </c:ext>
              </c:extLst>
            </c:dLbl>
            <c:dLbl>
              <c:idx val="15"/>
              <c:tx>
                <c:rich>
                  <a:bodyPr/>
                  <a:lstStyle/>
                  <a:p>
                    <a:fld id="{F0AB34BA-9964-4E2D-B566-52AC439B7C42}"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77E-4F29-87DF-0FE64D0B037A}"/>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5C1EA2C4-13DE-4D61-ACB9-B14C61162A82}"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77E-4F29-87DF-0FE64D0B037A}"/>
                </c:ext>
              </c:extLst>
            </c:dLbl>
            <c:dLbl>
              <c:idx val="20"/>
              <c:tx>
                <c:rich>
                  <a:bodyPr/>
                  <a:lstStyle/>
                  <a:p>
                    <a:fld id="{7C8ED9E9-1AB7-42F6-9995-C4F043D1EC3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77E-4F29-87DF-0FE64D0B037A}"/>
                </c:ext>
              </c:extLst>
            </c:dLbl>
            <c:dLbl>
              <c:idx val="21"/>
              <c:tx>
                <c:rich>
                  <a:bodyPr/>
                  <a:lstStyle/>
                  <a:p>
                    <a:fld id="{78F3AF13-0FD2-4AF0-B566-4299FB7ED6BE}"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77E-4F29-87DF-0FE64D0B037A}"/>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74927DAE-D7AF-47A8-9B14-2C4F935DFCA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77E-4F29-87DF-0FE64D0B037A}"/>
                </c:ext>
              </c:extLst>
            </c:dLbl>
            <c:dLbl>
              <c:idx val="26"/>
              <c:tx>
                <c:rich>
                  <a:bodyPr/>
                  <a:lstStyle/>
                  <a:p>
                    <a:fld id="{BD3E076F-CE25-423A-8C6A-09F7DE078B2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77E-4F29-87DF-0FE64D0B037A}"/>
                </c:ext>
              </c:extLst>
            </c:dLbl>
            <c:dLbl>
              <c:idx val="27"/>
              <c:tx>
                <c:rich>
                  <a:bodyPr/>
                  <a:lstStyle/>
                  <a:p>
                    <a:fld id="{819DDE62-6389-4849-9798-48DD59FB631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77E-4F29-87DF-0FE64D0B037A}"/>
                </c:ext>
              </c:extLst>
            </c:dLbl>
            <c:dLbl>
              <c:idx val="28"/>
              <c:tx>
                <c:rich>
                  <a:bodyPr/>
                  <a:lstStyle/>
                  <a:p>
                    <a:fld id="{E269562F-4CEB-4CE6-9EA7-72C44E88608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77E-4F29-87DF-0FE64D0B037A}"/>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20BB4946-DF55-48F0-957C-50DB546B31CF}"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77E-4F29-87DF-0FE64D0B037A}"/>
                </c:ext>
              </c:extLst>
            </c:dLbl>
            <c:dLbl>
              <c:idx val="32"/>
              <c:tx>
                <c:rich>
                  <a:bodyPr/>
                  <a:lstStyle/>
                  <a:p>
                    <a:fld id="{06CDAB58-36F5-4D41-83F7-113CDE8338A7}"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77E-4F29-87DF-0FE64D0B037A}"/>
                </c:ext>
              </c:extLst>
            </c:dLbl>
            <c:dLbl>
              <c:idx val="33"/>
              <c:tx>
                <c:rich>
                  <a:bodyPr/>
                  <a:lstStyle/>
                  <a:p>
                    <a:fld id="{4FEEA3BD-D73C-40FA-B949-86F82F52F58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77E-4F29-87DF-0FE64D0B037A}"/>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B36F015E-F0D9-4D15-AB37-86219B06369E}"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77E-4F29-87DF-0FE64D0B037A}"/>
                </c:ext>
              </c:extLst>
            </c:dLbl>
            <c:dLbl>
              <c:idx val="38"/>
              <c:tx>
                <c:rich>
                  <a:bodyPr/>
                  <a:lstStyle/>
                  <a:p>
                    <a:fld id="{349E467A-DD49-46DC-A396-CE4E664160D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490A730D-D000-450F-96DC-7F2A2FF359F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77E-4F29-87DF-0FE64D0B037A}"/>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33B83D4F-019A-4086-AD20-F048E2E70EF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77E-4F29-87DF-0FE64D0B037A}"/>
                </c:ext>
              </c:extLst>
            </c:dLbl>
            <c:dLbl>
              <c:idx val="44"/>
              <c:tx>
                <c:rich>
                  <a:bodyPr/>
                  <a:lstStyle/>
                  <a:p>
                    <a:fld id="{A2D086E4-4E9E-42E5-BF72-3D4959E020F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77E-4F29-87DF-0FE64D0B037A}"/>
                </c:ext>
              </c:extLst>
            </c:dLbl>
            <c:dLbl>
              <c:idx val="45"/>
              <c:tx>
                <c:rich>
                  <a:bodyPr/>
                  <a:lstStyle/>
                  <a:p>
                    <a:fld id="{F12FAD88-6B41-49DB-ABF7-7A031CA4535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77E-4F29-87DF-0FE64D0B037A}"/>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8B4320B4-2E05-4C33-9519-FAB1D122D30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77E-4F29-87DF-0FE64D0B037A}"/>
                </c:ext>
              </c:extLst>
            </c:dLbl>
            <c:dLbl>
              <c:idx val="50"/>
              <c:tx>
                <c:rich>
                  <a:bodyPr/>
                  <a:lstStyle/>
                  <a:p>
                    <a:fld id="{A749DFC8-C847-49E3-BBB6-C7B871DBC53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77E-4F29-87DF-0FE64D0B037A}"/>
                </c:ext>
              </c:extLst>
            </c:dLbl>
            <c:dLbl>
              <c:idx val="51"/>
              <c:tx>
                <c:rich>
                  <a:bodyPr/>
                  <a:lstStyle/>
                  <a:p>
                    <a:fld id="{7CD27686-0F54-4B47-8854-6DCE51C8D28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16A14CE-5E0D-4ACC-972B-D2E6E8DDAA6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DBC5C04-6A72-48B7-8F97-D3B4D8BFFA7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GB"/>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80A0CEB-B132-4039-924E-F66B0B050F7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A21CA555-E30E-45C4-BB0C-0162292A37E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E4C2932-B39D-481C-AD3A-DD14699C740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4B14E642-CD87-47C1-A637-A81BFB06126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1377D69-952C-4DA3-A552-9031B6C0109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8F382C03-7718-4A8A-AE9C-E53BAA5FBA1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541B28F0-34A5-459E-B381-A411CD1070B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FBC9064-1346-45C5-ACC3-ED7F57AB820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402BE6C-8D4A-4E71-9687-C6490960012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F828A45-C64A-4594-A9DC-B02917B24B1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0DB69942-513B-4A1B-8D24-BBD6D575BB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8C0A5DA-549E-4D31-8D38-D094030AC4A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0397FA7B-C520-45BA-9EFC-7733F00D494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595FD39C-ADA5-4291-8571-E8673DFD3D2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AEA4CCB-DD55-42BE-B9EC-FDC87447E89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E0C96B5E-094C-4E76-B036-18738533A36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721F38E-5D96-4B70-8158-CDA5D5A7191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AF3FF2F-9725-4BEF-ACA1-FE6D7E43E0B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040D37C-DEF3-4F96-B952-5449593F2F7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552D613-0D0C-45C5-B797-07DF1EB75A00}"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70882039-3197-4E41-B84D-B51B3AF175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8A68B7B0-97B9-4F5F-9B86-B833EC17E5E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68354F72-9D87-4D13-ACCB-D72A1DF91C6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91CC5C40-7EBB-471C-B872-12FCEE8E1BF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5B1B466-B5D3-4BEC-AB83-DACAC51C8B1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14E6B1C-C369-4F44-B04C-1061D08071B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EE860198-A7C9-4155-9693-A128B81BA51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50E7996E-7448-4224-B0FA-0B7045A734C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3B4B49EC-FE03-4A79-B015-9A74BB21457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1F1EAB6E-19E2-4D0D-8971-7F9A0B49F51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B18836B-D095-4946-88BA-2D83A495BC1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967F620B-D818-4A07-B156-CA8A50ECF9D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F0F1C8E6-82B7-4455-A489-372BD96908D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FC62F24E-2C2F-4C6D-8B8D-E7D63F26E19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84DFB62-90B7-4CC5-A5D1-F3F7896C105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55DBE4B5-0CF7-498D-A996-5853D5FC431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B3FD3640-16F4-4BE9-A834-7E3B9AD3A2E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9C271404-FBCD-468E-B365-F610D66B8AD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4B6C5A5A-021C-426E-B356-9F0607D92EC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BC21EE02-76D9-43A9-8E00-7C73B354FF7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BCEB6C00-A612-43F1-8A97-177B2F91EC6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F3C4801C-B95F-4BE5-85E5-06F79AAEC54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7D64233-94E7-4B26-8571-444C2C60475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565E116-F232-4F8B-A344-C3749A17E69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A5227CFE-ADE6-40B9-928C-897502AB3AD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967B6CF1-5DB1-412A-8736-88E7629EA165}" type="CELLRANGE">
                      <a:rPr lang="en-US"/>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210342D3-733B-485E-A66D-F1DD79CF3C8D}" type="CELLRANGE">
                      <a:rPr lang="en-CH"/>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587D1350-B254-4B52-8356-6B9249C705AB}"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F3F-4891-A588-66FCA4279EF0}"/>
                </c:ext>
              </c:extLst>
            </c:dLbl>
            <c:dLbl>
              <c:idx val="4"/>
              <c:tx>
                <c:rich>
                  <a:bodyPr/>
                  <a:lstStyle/>
                  <a:p>
                    <a:fld id="{43D4FA1C-6C7B-4324-85F9-1215E0C68B9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F3F-4891-A588-66FCA4279EF0}"/>
                </c:ext>
              </c:extLst>
            </c:dLbl>
            <c:dLbl>
              <c:idx val="5"/>
              <c:tx>
                <c:rich>
                  <a:bodyPr/>
                  <a:lstStyle/>
                  <a:p>
                    <a:fld id="{2C3E80BC-FED1-4EE5-9361-334FDCD67B5E}"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F3F-4891-A588-66FCA4279EF0}"/>
                </c:ext>
              </c:extLst>
            </c:dLbl>
            <c:dLbl>
              <c:idx val="6"/>
              <c:tx>
                <c:rich>
                  <a:bodyPr/>
                  <a:lstStyle/>
                  <a:p>
                    <a:fld id="{8C295D97-1A07-491E-A6E1-805835A81C77}"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F3F-4891-A588-66FCA4279EF0}"/>
                </c:ext>
              </c:extLst>
            </c:dLbl>
            <c:dLbl>
              <c:idx val="7"/>
              <c:tx>
                <c:rich>
                  <a:bodyPr/>
                  <a:lstStyle/>
                  <a:p>
                    <a:fld id="{B48733F1-53AB-45FC-ACFD-08DF098B3F3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F3F-4891-A588-66FCA4279EF0}"/>
                </c:ext>
              </c:extLst>
            </c:dLbl>
            <c:dLbl>
              <c:idx val="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6F3F-4891-A588-66FCA4279EF0}"/>
                </c:ext>
              </c:extLst>
            </c:dLbl>
            <c:dLbl>
              <c:idx val="9"/>
              <c:tx>
                <c:rich>
                  <a:bodyPr/>
                  <a:lstStyle/>
                  <a:p>
                    <a:fld id="{733F39D0-9064-43AB-B6D9-1CC3CC006B6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F3F-4891-A588-66FCA4279EF0}"/>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3F-4891-A588-66FCA4279EF0}"/>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6F3F-4891-A588-66FCA4279EF0}"/>
                </c:ext>
              </c:extLst>
            </c:dLbl>
            <c:dLbl>
              <c:idx val="12"/>
              <c:tx>
                <c:rich>
                  <a:bodyPr/>
                  <a:lstStyle/>
                  <a:p>
                    <a:fld id="{2B98B759-0E2D-439A-8EA5-40D88BC773AF}"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F3F-4891-A588-66FCA4279EF0}"/>
                </c:ext>
              </c:extLst>
            </c:dLbl>
            <c:dLbl>
              <c:idx val="13"/>
              <c:tx>
                <c:rich>
                  <a:bodyPr/>
                  <a:lstStyle/>
                  <a:p>
                    <a:fld id="{FF4903E3-15A9-4AB3-ACE4-2C745983D2B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6F3F-4891-A588-66FCA4279EF0}"/>
                </c:ext>
              </c:extLst>
            </c:dLbl>
            <c:dLbl>
              <c:idx val="1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F3F-4891-A588-66FCA4279EF0}"/>
                </c:ext>
              </c:extLst>
            </c:dLbl>
            <c:dLbl>
              <c:idx val="15"/>
              <c:tx>
                <c:rich>
                  <a:bodyPr/>
                  <a:lstStyle/>
                  <a:p>
                    <a:fld id="{DDBC07D8-7B8F-4F02-9BD3-2A3F28FEFC9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F3F-4891-A588-66FCA4279EF0}"/>
                </c:ext>
              </c:extLst>
            </c:dLbl>
            <c:dLbl>
              <c:idx val="16"/>
              <c:tx>
                <c:rich>
                  <a:bodyPr/>
                  <a:lstStyle/>
                  <a:p>
                    <a:fld id="{6E3662D6-E943-4752-A622-94541DC2D24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F3F-4891-A588-66FCA4279EF0}"/>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F3F-4891-A588-66FCA4279EF0}"/>
                </c:ext>
              </c:extLst>
            </c:dLbl>
            <c:dLbl>
              <c:idx val="18"/>
              <c:tx>
                <c:rich>
                  <a:bodyPr/>
                  <a:lstStyle/>
                  <a:p>
                    <a:fld id="{22862AAE-D3D7-4FFC-98C5-1A2EE7BC576D}"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6F3F-4891-A588-66FCA4279EF0}"/>
                </c:ext>
              </c:extLst>
            </c:dLbl>
            <c:dLbl>
              <c:idx val="19"/>
              <c:tx>
                <c:rich>
                  <a:bodyPr/>
                  <a:lstStyle/>
                  <a:p>
                    <a:fld id="{439BE5C9-F3C2-4BDC-9621-BEA3652A115C}"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6F3F-4891-A588-66FCA4279EF0}"/>
                </c:ext>
              </c:extLst>
            </c:dLbl>
            <c:dLbl>
              <c:idx val="20"/>
              <c:tx>
                <c:rich>
                  <a:bodyPr/>
                  <a:lstStyle/>
                  <a:p>
                    <a:fld id="{1B39EC3C-DE11-4BB8-8051-88ED40960B7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6F3F-4891-A588-66FCA4279EF0}"/>
                </c:ext>
              </c:extLst>
            </c:dLbl>
            <c:dLbl>
              <c:idx val="21"/>
              <c:tx>
                <c:rich>
                  <a:bodyPr/>
                  <a:lstStyle/>
                  <a:p>
                    <a:fld id="{8C082285-069D-4891-9150-438F363E5600}"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6F3F-4891-A588-66FCA4279EF0}"/>
                </c:ext>
              </c:extLst>
            </c:dLbl>
            <c:dLbl>
              <c:idx val="22"/>
              <c:tx>
                <c:rich>
                  <a:bodyPr/>
                  <a:lstStyle/>
                  <a:p>
                    <a:fld id="{58DAAE62-BEF2-449A-B2E9-457C92C3D48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6F3F-4891-A588-66FCA4279EF0}"/>
                </c:ext>
              </c:extLst>
            </c:dLbl>
            <c:dLbl>
              <c:idx val="23"/>
              <c:tx>
                <c:rich>
                  <a:bodyPr/>
                  <a:lstStyle/>
                  <a:p>
                    <a:fld id="{025408FF-F546-41C1-AFFE-9960A16474D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6F3F-4891-A588-66FCA4279EF0}"/>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F3F-4891-A588-66FCA4279EF0}"/>
                </c:ext>
              </c:extLst>
            </c:dLbl>
            <c:dLbl>
              <c:idx val="2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F3F-4891-A588-66FCA4279EF0}"/>
                </c:ext>
              </c:extLst>
            </c:dLbl>
            <c:dLbl>
              <c:idx val="26"/>
              <c:tx>
                <c:rich>
                  <a:bodyPr/>
                  <a:lstStyle/>
                  <a:p>
                    <a:fld id="{BBA65FF4-578D-4A55-906D-0BB9ACFC4090}"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6F3F-4891-A588-66FCA4279EF0}"/>
                </c:ext>
              </c:extLst>
            </c:dLbl>
            <c:dLbl>
              <c:idx val="2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F3F-4891-A588-66FCA4279EF0}"/>
                </c:ext>
              </c:extLst>
            </c:dLbl>
            <c:dLbl>
              <c:idx val="2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F3F-4891-A588-66FCA4279EF0}"/>
                </c:ext>
              </c:extLst>
            </c:dLbl>
            <c:dLbl>
              <c:idx val="29"/>
              <c:tx>
                <c:rich>
                  <a:bodyPr/>
                  <a:lstStyle/>
                  <a:p>
                    <a:fld id="{3E21A6D7-4478-44DC-9BBE-5946CE2E330E}"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6F3F-4891-A588-66FCA4279EF0}"/>
                </c:ext>
              </c:extLst>
            </c:dLbl>
            <c:dLbl>
              <c:idx val="30"/>
              <c:tx>
                <c:rich>
                  <a:bodyPr/>
                  <a:lstStyle/>
                  <a:p>
                    <a:fld id="{96800B65-6C5E-44F4-933B-4FED201D059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6F3F-4891-A588-66FCA4279EF0}"/>
                </c:ext>
              </c:extLst>
            </c:dLbl>
            <c:dLbl>
              <c:idx val="3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F3F-4891-A588-66FCA4279EF0}"/>
                </c:ext>
              </c:extLst>
            </c:dLbl>
            <c:dLbl>
              <c:idx val="3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F3F-4891-A588-66FCA4279EF0}"/>
                </c:ext>
              </c:extLst>
            </c:dLbl>
            <c:dLbl>
              <c:idx val="33"/>
              <c:tx>
                <c:rich>
                  <a:bodyPr/>
                  <a:lstStyle/>
                  <a:p>
                    <a:fld id="{298B96F3-D60E-49AE-8970-196D2AD7B26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6F3F-4891-A588-66FCA4279EF0}"/>
                </c:ext>
              </c:extLst>
            </c:dLbl>
            <c:dLbl>
              <c:idx val="34"/>
              <c:tx>
                <c:rich>
                  <a:bodyPr/>
                  <a:lstStyle/>
                  <a:p>
                    <a:fld id="{1C926AF6-A390-48B6-A84C-B7BE1253785E}"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6F3F-4891-A588-66FCA4279EF0}"/>
                </c:ext>
              </c:extLst>
            </c:dLbl>
            <c:dLbl>
              <c:idx val="35"/>
              <c:tx>
                <c:rich>
                  <a:bodyPr/>
                  <a:lstStyle/>
                  <a:p>
                    <a:fld id="{057F42ED-5DC6-4020-B948-6053A7EDE62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6F3F-4891-A588-66FCA4279EF0}"/>
                </c:ext>
              </c:extLst>
            </c:dLbl>
            <c:dLbl>
              <c:idx val="36"/>
              <c:tx>
                <c:rich>
                  <a:bodyPr/>
                  <a:lstStyle/>
                  <a:p>
                    <a:fld id="{DE41403E-06F7-446D-8BE1-9D510719729B}"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6F3F-4891-A588-66FCA4279EF0}"/>
                </c:ext>
              </c:extLst>
            </c:dLbl>
            <c:dLbl>
              <c:idx val="3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F3F-4891-A588-66FCA4279EF0}"/>
                </c:ext>
              </c:extLst>
            </c:dLbl>
            <c:dLbl>
              <c:idx val="38"/>
              <c:tx>
                <c:rich>
                  <a:bodyPr/>
                  <a:lstStyle/>
                  <a:p>
                    <a:fld id="{B7C375EE-6B68-4B80-94F3-80EA82284F69}"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6F3F-4891-A588-66FCA4279EF0}"/>
                </c:ext>
              </c:extLst>
            </c:dLbl>
            <c:dLbl>
              <c:idx val="3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F3F-4891-A588-66FCA4279EF0}"/>
                </c:ext>
              </c:extLst>
            </c:dLbl>
            <c:dLbl>
              <c:idx val="40"/>
              <c:tx>
                <c:rich>
                  <a:bodyPr/>
                  <a:lstStyle/>
                  <a:p>
                    <a:fld id="{506094C9-84C7-47E0-9590-6194111D433C}"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6F3F-4891-A588-66FCA4279EF0}"/>
                </c:ext>
              </c:extLst>
            </c:dLbl>
            <c:dLbl>
              <c:idx val="41"/>
              <c:tx>
                <c:rich>
                  <a:bodyPr/>
                  <a:lstStyle/>
                  <a:p>
                    <a:fld id="{1C621824-CB7B-4988-BA29-3F39C52B0E07}"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6F3F-4891-A588-66FCA4279EF0}"/>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6F3F-4891-A588-66FCA4279EF0}"/>
                </c:ext>
              </c:extLst>
            </c:dLbl>
            <c:dLbl>
              <c:idx val="4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6F3F-4891-A588-66FCA4279EF0}"/>
                </c:ext>
              </c:extLst>
            </c:dLbl>
            <c:dLbl>
              <c:idx val="44"/>
              <c:tx>
                <c:rich>
                  <a:bodyPr/>
                  <a:lstStyle/>
                  <a:p>
                    <a:fld id="{EB965989-0F2A-45F4-A7C4-46F3A20B6034}"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6F3F-4891-A588-66FCA4279EF0}"/>
                </c:ext>
              </c:extLst>
            </c:dLbl>
            <c:dLbl>
              <c:idx val="45"/>
              <c:tx>
                <c:rich>
                  <a:bodyPr/>
                  <a:lstStyle/>
                  <a:p>
                    <a:fld id="{FD890C5F-81C7-4D7E-A96B-E040A42B7F47}"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B4C31B0-ECC5-4236-9DDE-7E577D45CEB6}"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6F3F-4891-A588-66FCA4279EF0}"/>
                </c:ext>
              </c:extLst>
            </c:dLbl>
            <c:dLbl>
              <c:idx val="47"/>
              <c:tx>
                <c:rich>
                  <a:bodyPr/>
                  <a:lstStyle/>
                  <a:p>
                    <a:fld id="{C3A90554-5D55-44D2-B8F3-F7E426466D8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6F3F-4891-A588-66FCA4279EF0}"/>
                </c:ext>
              </c:extLst>
            </c:dLbl>
            <c:dLbl>
              <c:idx val="48"/>
              <c:tx>
                <c:rich>
                  <a:bodyPr/>
                  <a:lstStyle/>
                  <a:p>
                    <a:fld id="{0AE3FB12-B051-4490-8361-118D8D9C007C}"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6F3F-4891-A588-66FCA4279EF0}"/>
                </c:ext>
              </c:extLst>
            </c:dLbl>
            <c:dLbl>
              <c:idx val="4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6F3F-4891-A588-66FCA4279EF0}"/>
                </c:ext>
              </c:extLst>
            </c:dLbl>
            <c:dLbl>
              <c:idx val="5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6F3F-4891-A588-66FCA4279EF0}"/>
                </c:ext>
              </c:extLst>
            </c:dLbl>
            <c:dLbl>
              <c:idx val="51"/>
              <c:tx>
                <c:rich>
                  <a:bodyPr/>
                  <a:lstStyle/>
                  <a:p>
                    <a:fld id="{CE9CF5FF-A899-45E7-8846-A5EC585403BB}"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D220506-0D1A-4A78-9302-76A1F9F95FB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F96458C9-41A9-42B0-99E0-84D6CCD344AE}" type="CELLRANGE">
                      <a:rPr lang="en-CH"/>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7DE079EE-0B8C-4D2E-8F32-7D7B804445F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FCA-4943-AA4B-9818CF1C0054}"/>
                </c:ext>
              </c:extLst>
            </c:dLbl>
            <c:dLbl>
              <c:idx val="3"/>
              <c:tx>
                <c:rich>
                  <a:bodyPr/>
                  <a:lstStyle/>
                  <a:p>
                    <a:fld id="{484D21F8-3CD5-49E0-9694-068504E0A0A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FCA-4943-AA4B-9818CF1C0054}"/>
                </c:ext>
              </c:extLst>
            </c:dLbl>
            <c:dLbl>
              <c:idx val="4"/>
              <c:tx>
                <c:rich>
                  <a:bodyPr/>
                  <a:lstStyle/>
                  <a:p>
                    <a:fld id="{88B299A9-AE2D-4EB6-8112-83632EE4A26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AFCA-4943-AA4B-9818CF1C0054}"/>
                </c:ext>
              </c:extLst>
            </c:dLbl>
            <c:dLbl>
              <c:idx val="5"/>
              <c:tx>
                <c:rich>
                  <a:bodyPr/>
                  <a:lstStyle/>
                  <a:p>
                    <a:fld id="{33AB282E-61A8-4691-B550-4BBBF569572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FCA-4943-AA4B-9818CF1C0054}"/>
                </c:ext>
              </c:extLst>
            </c:dLbl>
            <c:dLbl>
              <c:idx val="6"/>
              <c:tx>
                <c:rich>
                  <a:bodyPr/>
                  <a:lstStyle/>
                  <a:p>
                    <a:fld id="{2D6F7034-2C56-4C28-90EF-AB01DF34907F}"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FCA-4943-AA4B-9818CF1C0054}"/>
                </c:ext>
              </c:extLst>
            </c:dLbl>
            <c:dLbl>
              <c:idx val="7"/>
              <c:tx>
                <c:rich>
                  <a:bodyPr/>
                  <a:lstStyle/>
                  <a:p>
                    <a:fld id="{4418C6C0-978E-49E6-9E5B-D4020F9B8E6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FCA-4943-AA4B-9818CF1C0054}"/>
                </c:ext>
              </c:extLst>
            </c:dLbl>
            <c:dLbl>
              <c:idx val="8"/>
              <c:tx>
                <c:rich>
                  <a:bodyPr/>
                  <a:lstStyle/>
                  <a:p>
                    <a:fld id="{47313C50-3DB7-4662-A67F-66A521299E6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AFCA-4943-AA4B-9818CF1C0054}"/>
                </c:ext>
              </c:extLst>
            </c:dLbl>
            <c:dLbl>
              <c:idx val="9"/>
              <c:tx>
                <c:rich>
                  <a:bodyPr/>
                  <a:lstStyle/>
                  <a:p>
                    <a:fld id="{B01A8610-2FF8-439B-956E-FE5776CCF26F}"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FCA-4943-AA4B-9818CF1C0054}"/>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AFCA-4943-AA4B-9818CF1C0054}"/>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AFCA-4943-AA4B-9818CF1C0054}"/>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FCA-4943-AA4B-9818CF1C0054}"/>
                </c:ext>
              </c:extLst>
            </c:dLbl>
            <c:dLbl>
              <c:idx val="13"/>
              <c:tx>
                <c:rich>
                  <a:bodyPr/>
                  <a:lstStyle/>
                  <a:p>
                    <a:fld id="{5518CDB9-AE72-45F1-AA15-DBE04AD33E2F}"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FCA-4943-AA4B-9818CF1C0054}"/>
                </c:ext>
              </c:extLst>
            </c:dLbl>
            <c:dLbl>
              <c:idx val="14"/>
              <c:tx>
                <c:rich>
                  <a:bodyPr/>
                  <a:lstStyle/>
                  <a:p>
                    <a:fld id="{64B28E80-F4A4-4DDC-B62B-801F1417377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FCA-4943-AA4B-9818CF1C0054}"/>
                </c:ext>
              </c:extLst>
            </c:dLbl>
            <c:dLbl>
              <c:idx val="15"/>
              <c:tx>
                <c:rich>
                  <a:bodyPr/>
                  <a:lstStyle/>
                  <a:p>
                    <a:fld id="{5E2C077C-3562-4CBE-ADBB-DF6F308DED0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AFCA-4943-AA4B-9818CF1C0054}"/>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FCA-4943-AA4B-9818CF1C0054}"/>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FCA-4943-AA4B-9818CF1C0054}"/>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FCA-4943-AA4B-9818CF1C0054}"/>
                </c:ext>
              </c:extLst>
            </c:dLbl>
            <c:dLbl>
              <c:idx val="19"/>
              <c:tx>
                <c:rich>
                  <a:bodyPr/>
                  <a:lstStyle/>
                  <a:p>
                    <a:fld id="{D3A73A13-E978-43BA-9925-B5830CDF862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AFCA-4943-AA4B-9818CF1C0054}"/>
                </c:ext>
              </c:extLst>
            </c:dLbl>
            <c:dLbl>
              <c:idx val="20"/>
              <c:tx>
                <c:rich>
                  <a:bodyPr/>
                  <a:lstStyle/>
                  <a:p>
                    <a:fld id="{F046385A-F67C-403D-A55C-F7A1C869240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AFCA-4943-AA4B-9818CF1C0054}"/>
                </c:ext>
              </c:extLst>
            </c:dLbl>
            <c:dLbl>
              <c:idx val="21"/>
              <c:tx>
                <c:rich>
                  <a:bodyPr/>
                  <a:lstStyle/>
                  <a:p>
                    <a:fld id="{898AD404-13A2-4EE7-A4DF-21C8DCBA4D2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AFCA-4943-AA4B-9818CF1C0054}"/>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AFCA-4943-AA4B-9818CF1C0054}"/>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FCA-4943-AA4B-9818CF1C0054}"/>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FCA-4943-AA4B-9818CF1C0054}"/>
                </c:ext>
              </c:extLst>
            </c:dLbl>
            <c:dLbl>
              <c:idx val="25"/>
              <c:tx>
                <c:rich>
                  <a:bodyPr/>
                  <a:lstStyle/>
                  <a:p>
                    <a:fld id="{E12256F6-1B12-4979-A9B8-3F2B04A74CC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AFCA-4943-AA4B-9818CF1C0054}"/>
                </c:ext>
              </c:extLst>
            </c:dLbl>
            <c:dLbl>
              <c:idx val="26"/>
              <c:tx>
                <c:rich>
                  <a:bodyPr/>
                  <a:lstStyle/>
                  <a:p>
                    <a:fld id="{351D5961-BB92-48BF-B897-4A0EB73E4BF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AFCA-4943-AA4B-9818CF1C0054}"/>
                </c:ext>
              </c:extLst>
            </c:dLbl>
            <c:dLbl>
              <c:idx val="27"/>
              <c:tx>
                <c:rich>
                  <a:bodyPr/>
                  <a:lstStyle/>
                  <a:p>
                    <a:fld id="{F8928565-E0ED-4511-BF4F-72499E1E72B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AFCA-4943-AA4B-9818CF1C0054}"/>
                </c:ext>
              </c:extLst>
            </c:dLbl>
            <c:dLbl>
              <c:idx val="28"/>
              <c:tx>
                <c:rich>
                  <a:bodyPr/>
                  <a:lstStyle/>
                  <a:p>
                    <a:fld id="{90BBF131-B1D5-4291-B72B-DDE6B9582F5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AFCA-4943-AA4B-9818CF1C0054}"/>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AFCA-4943-AA4B-9818CF1C0054}"/>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AFCA-4943-AA4B-9818CF1C0054}"/>
                </c:ext>
              </c:extLst>
            </c:dLbl>
            <c:dLbl>
              <c:idx val="31"/>
              <c:tx>
                <c:rich>
                  <a:bodyPr/>
                  <a:lstStyle/>
                  <a:p>
                    <a:fld id="{AC04368F-FDF9-4859-97A2-74E557C3749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AFCA-4943-AA4B-9818CF1C0054}"/>
                </c:ext>
              </c:extLst>
            </c:dLbl>
            <c:dLbl>
              <c:idx val="32"/>
              <c:tx>
                <c:rich>
                  <a:bodyPr/>
                  <a:lstStyle/>
                  <a:p>
                    <a:fld id="{E27615CC-3775-4C90-AC6F-A96CF03130A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AFCA-4943-AA4B-9818CF1C0054}"/>
                </c:ext>
              </c:extLst>
            </c:dLbl>
            <c:dLbl>
              <c:idx val="33"/>
              <c:tx>
                <c:rich>
                  <a:bodyPr/>
                  <a:lstStyle/>
                  <a:p>
                    <a:fld id="{4203F1CF-697B-4879-960A-563DB1CF83E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AFCA-4943-AA4B-9818CF1C0054}"/>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AFCA-4943-AA4B-9818CF1C0054}"/>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AFCA-4943-AA4B-9818CF1C0054}"/>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AFCA-4943-AA4B-9818CF1C0054}"/>
                </c:ext>
              </c:extLst>
            </c:dLbl>
            <c:dLbl>
              <c:idx val="37"/>
              <c:tx>
                <c:rich>
                  <a:bodyPr/>
                  <a:lstStyle/>
                  <a:p>
                    <a:fld id="{FB69F2FE-79FA-49FF-8ADD-B1C90249887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AFCA-4943-AA4B-9818CF1C0054}"/>
                </c:ext>
              </c:extLst>
            </c:dLbl>
            <c:dLbl>
              <c:idx val="38"/>
              <c:tx>
                <c:rich>
                  <a:bodyPr/>
                  <a:lstStyle/>
                  <a:p>
                    <a:fld id="{2829C47D-CAE4-4C1F-BB6F-E90B28FD231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CD8B673B-EB43-4062-8D39-55B036C1231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AFCA-4943-AA4B-9818CF1C0054}"/>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AFCA-4943-AA4B-9818CF1C0054}"/>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AFCA-4943-AA4B-9818CF1C0054}"/>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AFCA-4943-AA4B-9818CF1C0054}"/>
                </c:ext>
              </c:extLst>
            </c:dLbl>
            <c:dLbl>
              <c:idx val="43"/>
              <c:tx>
                <c:rich>
                  <a:bodyPr/>
                  <a:lstStyle/>
                  <a:p>
                    <a:fld id="{2DF5179D-A340-4291-BD42-70AF5E8995B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AFCA-4943-AA4B-9818CF1C0054}"/>
                </c:ext>
              </c:extLst>
            </c:dLbl>
            <c:dLbl>
              <c:idx val="44"/>
              <c:tx>
                <c:rich>
                  <a:bodyPr/>
                  <a:lstStyle/>
                  <a:p>
                    <a:fld id="{147B93EA-D59E-4006-B3ED-ED5CAB515C9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AFCA-4943-AA4B-9818CF1C0054}"/>
                </c:ext>
              </c:extLst>
            </c:dLbl>
            <c:dLbl>
              <c:idx val="45"/>
              <c:tx>
                <c:rich>
                  <a:bodyPr/>
                  <a:lstStyle/>
                  <a:p>
                    <a:fld id="{CD841F4F-7490-43AC-AB95-4E7966EDF11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AFCA-4943-AA4B-9818CF1C0054}"/>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AFCA-4943-AA4B-9818CF1C0054}"/>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AFCA-4943-AA4B-9818CF1C0054}"/>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AFCA-4943-AA4B-9818CF1C0054}"/>
                </c:ext>
              </c:extLst>
            </c:dLbl>
            <c:dLbl>
              <c:idx val="49"/>
              <c:tx>
                <c:rich>
                  <a:bodyPr/>
                  <a:lstStyle/>
                  <a:p>
                    <a:fld id="{44E13A10-8C26-4B81-8267-8F1351682E6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AFCA-4943-AA4B-9818CF1C0054}"/>
                </c:ext>
              </c:extLst>
            </c:dLbl>
            <c:dLbl>
              <c:idx val="50"/>
              <c:tx>
                <c:rich>
                  <a:bodyPr/>
                  <a:lstStyle/>
                  <a:p>
                    <a:fld id="{59BBC634-149A-4B91-9D40-DE166C05C39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AFCA-4943-AA4B-9818CF1C0054}"/>
                </c:ext>
              </c:extLst>
            </c:dLbl>
            <c:dLbl>
              <c:idx val="51"/>
              <c:tx>
                <c:rich>
                  <a:bodyPr/>
                  <a:lstStyle/>
                  <a:p>
                    <a:fld id="{01F72393-4359-4E94-8D9D-E2F7759B4BC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A3A68A9F-7C28-4BB6-9988-0EE528E6D7F8}"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CF519479-0718-4C4D-86A5-C75B30E10662}" type="CELLRANGE">
                      <a:rPr lang="en-CH"/>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B7BBF3C6-5B5B-4C75-A1C8-2F3B20F09CB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B2C-A45E-07CB64A14B3B}"/>
                </c:ext>
              </c:extLst>
            </c:dLbl>
            <c:dLbl>
              <c:idx val="4"/>
              <c:tx>
                <c:rich>
                  <a:bodyPr/>
                  <a:lstStyle/>
                  <a:p>
                    <a:fld id="{F49CE29C-F565-4FC7-9E4A-C2941F979CA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B2C-A45E-07CB64A14B3B}"/>
                </c:ext>
              </c:extLst>
            </c:dLbl>
            <c:dLbl>
              <c:idx val="5"/>
              <c:tx>
                <c:rich>
                  <a:bodyPr/>
                  <a:lstStyle/>
                  <a:p>
                    <a:fld id="{C9F0C1E0-A220-4735-A7AF-9712B5E2073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B2C-A45E-07CB64A14B3B}"/>
                </c:ext>
              </c:extLst>
            </c:dLbl>
            <c:dLbl>
              <c:idx val="6"/>
              <c:tx>
                <c:rich>
                  <a:bodyPr/>
                  <a:lstStyle/>
                  <a:p>
                    <a:fld id="{C8008ADF-04ED-4F94-8412-37CB767655D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B2C-A45E-07CB64A14B3B}"/>
                </c:ext>
              </c:extLst>
            </c:dLbl>
            <c:dLbl>
              <c:idx val="7"/>
              <c:tx>
                <c:rich>
                  <a:bodyPr/>
                  <a:lstStyle/>
                  <a:p>
                    <a:fld id="{F7DBECB4-4068-4901-8742-D2B83582275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B2C-A45E-07CB64A14B3B}"/>
                </c:ext>
              </c:extLst>
            </c:dLbl>
            <c:dLbl>
              <c:idx val="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48EF-4B2C-A45E-07CB64A14B3B}"/>
                </c:ext>
              </c:extLst>
            </c:dLbl>
            <c:dLbl>
              <c:idx val="9"/>
              <c:tx>
                <c:rich>
                  <a:bodyPr/>
                  <a:lstStyle/>
                  <a:p>
                    <a:fld id="{4F5863F1-F452-48B8-A060-789C82D7EF8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8EF-4B2C-A45E-07CB64A14B3B}"/>
                </c:ext>
              </c:extLst>
            </c:dLbl>
            <c:dLbl>
              <c:idx val="1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8EF-4B2C-A45E-07CB64A14B3B}"/>
                </c:ext>
              </c:extLst>
            </c:dLbl>
            <c:dLbl>
              <c:idx val="1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8EF-4B2C-A45E-07CB64A14B3B}"/>
                </c:ext>
              </c:extLst>
            </c:dLbl>
            <c:dLbl>
              <c:idx val="12"/>
              <c:tx>
                <c:rich>
                  <a:bodyPr/>
                  <a:lstStyle/>
                  <a:p>
                    <a:fld id="{416AC08D-FAC8-4FCF-AF58-FFB8A0DEC32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8EF-4B2C-A45E-07CB64A14B3B}"/>
                </c:ext>
              </c:extLst>
            </c:dLbl>
            <c:dLbl>
              <c:idx val="13"/>
              <c:tx>
                <c:rich>
                  <a:bodyPr/>
                  <a:lstStyle/>
                  <a:p>
                    <a:fld id="{78844ABC-5426-4CF5-ADF9-44BE1E6D48F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8EF-4B2C-A45E-07CB64A14B3B}"/>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8EF-4B2C-A45E-07CB64A14B3B}"/>
                </c:ext>
              </c:extLst>
            </c:dLbl>
            <c:dLbl>
              <c:idx val="15"/>
              <c:tx>
                <c:rich>
                  <a:bodyPr/>
                  <a:lstStyle/>
                  <a:p>
                    <a:fld id="{5D9C83A4-450E-4131-9BDD-6B5AED85373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8EF-4B2C-A45E-07CB64A14B3B}"/>
                </c:ext>
              </c:extLst>
            </c:dLbl>
            <c:dLbl>
              <c:idx val="16"/>
              <c:tx>
                <c:rich>
                  <a:bodyPr/>
                  <a:lstStyle/>
                  <a:p>
                    <a:fld id="{3C05FE32-D35F-4741-B6A7-C0F4CBF346E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8EF-4B2C-A45E-07CB64A14B3B}"/>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8EF-4B2C-A45E-07CB64A14B3B}"/>
                </c:ext>
              </c:extLst>
            </c:dLbl>
            <c:dLbl>
              <c:idx val="18"/>
              <c:tx>
                <c:rich>
                  <a:bodyPr/>
                  <a:lstStyle/>
                  <a:p>
                    <a:fld id="{742CE6DE-496A-42CF-8CCF-0F9625C7EE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8EF-4B2C-A45E-07CB64A14B3B}"/>
                </c:ext>
              </c:extLst>
            </c:dLbl>
            <c:dLbl>
              <c:idx val="19"/>
              <c:tx>
                <c:rich>
                  <a:bodyPr/>
                  <a:lstStyle/>
                  <a:p>
                    <a:fld id="{6D08F3D4-AD5D-472A-8633-4D1618662E2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8EF-4B2C-A45E-07CB64A14B3B}"/>
                </c:ext>
              </c:extLst>
            </c:dLbl>
            <c:dLbl>
              <c:idx val="20"/>
              <c:tx>
                <c:rich>
                  <a:bodyPr/>
                  <a:lstStyle/>
                  <a:p>
                    <a:fld id="{A43A7AB3-8C1D-4B67-812E-0C22A07EBBD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8EF-4B2C-A45E-07CB64A14B3B}"/>
                </c:ext>
              </c:extLst>
            </c:dLbl>
            <c:dLbl>
              <c:idx val="21"/>
              <c:tx>
                <c:rich>
                  <a:bodyPr/>
                  <a:lstStyle/>
                  <a:p>
                    <a:fld id="{3451705F-B308-4927-A31D-616AA1F067F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8EF-4B2C-A45E-07CB64A14B3B}"/>
                </c:ext>
              </c:extLst>
            </c:dLbl>
            <c:dLbl>
              <c:idx val="22"/>
              <c:tx>
                <c:rich>
                  <a:bodyPr/>
                  <a:lstStyle/>
                  <a:p>
                    <a:fld id="{892F677D-BB0F-4BED-A5B0-2D8057933A0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8EF-4B2C-A45E-07CB64A14B3B}"/>
                </c:ext>
              </c:extLst>
            </c:dLbl>
            <c:dLbl>
              <c:idx val="23"/>
              <c:tx>
                <c:rich>
                  <a:bodyPr/>
                  <a:lstStyle/>
                  <a:p>
                    <a:fld id="{70807DFE-5D84-44ED-9319-426595F4C8F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8EF-4B2C-A45E-07CB64A14B3B}"/>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8EF-4B2C-A45E-07CB64A14B3B}"/>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8EF-4B2C-A45E-07CB64A14B3B}"/>
                </c:ext>
              </c:extLst>
            </c:dLbl>
            <c:dLbl>
              <c:idx val="26"/>
              <c:tx>
                <c:rich>
                  <a:bodyPr/>
                  <a:lstStyle/>
                  <a:p>
                    <a:fld id="{C29FB267-608B-41E7-886D-65D004175BD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8EF-4B2C-A45E-07CB64A14B3B}"/>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48EF-4B2C-A45E-07CB64A14B3B}"/>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48EF-4B2C-A45E-07CB64A14B3B}"/>
                </c:ext>
              </c:extLst>
            </c:dLbl>
            <c:dLbl>
              <c:idx val="29"/>
              <c:tx>
                <c:rich>
                  <a:bodyPr/>
                  <a:lstStyle/>
                  <a:p>
                    <a:fld id="{34A76AEF-3AC9-4B3F-9846-0E7357A891D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8EF-4B2C-A45E-07CB64A14B3B}"/>
                </c:ext>
              </c:extLst>
            </c:dLbl>
            <c:dLbl>
              <c:idx val="30"/>
              <c:tx>
                <c:rich>
                  <a:bodyPr/>
                  <a:lstStyle/>
                  <a:p>
                    <a:fld id="{9B489DAD-0ACA-4932-92C1-AC8D58BCA4A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8EF-4B2C-A45E-07CB64A14B3B}"/>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48EF-4B2C-A45E-07CB64A14B3B}"/>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48EF-4B2C-A45E-07CB64A14B3B}"/>
                </c:ext>
              </c:extLst>
            </c:dLbl>
            <c:dLbl>
              <c:idx val="33"/>
              <c:tx>
                <c:rich>
                  <a:bodyPr/>
                  <a:lstStyle/>
                  <a:p>
                    <a:fld id="{870F457C-7221-4C16-A57B-567A4961A00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8EF-4B2C-A45E-07CB64A14B3B}"/>
                </c:ext>
              </c:extLst>
            </c:dLbl>
            <c:dLbl>
              <c:idx val="34"/>
              <c:tx>
                <c:rich>
                  <a:bodyPr/>
                  <a:lstStyle/>
                  <a:p>
                    <a:fld id="{4B5F03B3-5D2F-449D-93E7-1183EA01ADE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8EF-4B2C-A45E-07CB64A14B3B}"/>
                </c:ext>
              </c:extLst>
            </c:dLbl>
            <c:dLbl>
              <c:idx val="35"/>
              <c:tx>
                <c:rich>
                  <a:bodyPr/>
                  <a:lstStyle/>
                  <a:p>
                    <a:fld id="{CD1FC1B9-AD60-4D91-931A-57B5080867C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8EF-4B2C-A45E-07CB64A14B3B}"/>
                </c:ext>
              </c:extLst>
            </c:dLbl>
            <c:dLbl>
              <c:idx val="36"/>
              <c:tx>
                <c:rich>
                  <a:bodyPr/>
                  <a:lstStyle/>
                  <a:p>
                    <a:fld id="{6EF3C76A-FAA2-46C3-9A3D-DA328518DD6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8EF-4B2C-A45E-07CB64A14B3B}"/>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48EF-4B2C-A45E-07CB64A14B3B}"/>
                </c:ext>
              </c:extLst>
            </c:dLbl>
            <c:dLbl>
              <c:idx val="38"/>
              <c:tx>
                <c:rich>
                  <a:bodyPr/>
                  <a:lstStyle/>
                  <a:p>
                    <a:fld id="{51131A4B-C842-4D4F-82C3-F39820AD218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8EF-4B2C-A45E-07CB64A14B3B}"/>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48EF-4B2C-A45E-07CB64A14B3B}"/>
                </c:ext>
              </c:extLst>
            </c:dLbl>
            <c:dLbl>
              <c:idx val="40"/>
              <c:tx>
                <c:rich>
                  <a:bodyPr/>
                  <a:lstStyle/>
                  <a:p>
                    <a:fld id="{FBE9AE77-D310-4EA4-95E7-D7C69262D90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8EF-4B2C-A45E-07CB64A14B3B}"/>
                </c:ext>
              </c:extLst>
            </c:dLbl>
            <c:dLbl>
              <c:idx val="41"/>
              <c:tx>
                <c:rich>
                  <a:bodyPr/>
                  <a:lstStyle/>
                  <a:p>
                    <a:fld id="{D7EDE5E1-D450-44B4-8E77-686BF1AE3A7E}"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8EF-4B2C-A45E-07CB64A14B3B}"/>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48EF-4B2C-A45E-07CB64A14B3B}"/>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48EF-4B2C-A45E-07CB64A14B3B}"/>
                </c:ext>
              </c:extLst>
            </c:dLbl>
            <c:dLbl>
              <c:idx val="44"/>
              <c:tx>
                <c:rich>
                  <a:bodyPr/>
                  <a:lstStyle/>
                  <a:p>
                    <a:fld id="{0DBD5D97-89E1-4E78-B56B-121499681A2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8EF-4B2C-A45E-07CB64A14B3B}"/>
                </c:ext>
              </c:extLst>
            </c:dLbl>
            <c:dLbl>
              <c:idx val="45"/>
              <c:tx>
                <c:rich>
                  <a:bodyPr/>
                  <a:lstStyle/>
                  <a:p>
                    <a:fld id="{29446376-188C-4F5F-B362-DD5A2DBDA9C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410B32FA-AFE1-4D67-8D67-49EF3B45C8D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48EF-4B2C-A45E-07CB64A14B3B}"/>
                </c:ext>
              </c:extLst>
            </c:dLbl>
            <c:dLbl>
              <c:idx val="47"/>
              <c:tx>
                <c:rich>
                  <a:bodyPr/>
                  <a:lstStyle/>
                  <a:p>
                    <a:fld id="{4E706987-C460-41D2-8DED-8B35A54A922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48EF-4B2C-A45E-07CB64A14B3B}"/>
                </c:ext>
              </c:extLst>
            </c:dLbl>
            <c:dLbl>
              <c:idx val="48"/>
              <c:tx>
                <c:rich>
                  <a:bodyPr/>
                  <a:lstStyle/>
                  <a:p>
                    <a:fld id="{4EB06B61-83B5-4B3B-AB21-058FE0E08623}"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48EF-4B2C-A45E-07CB64A14B3B}"/>
                </c:ext>
              </c:extLst>
            </c:dLbl>
            <c:dLbl>
              <c:idx val="4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48EF-4B2C-A45E-07CB64A14B3B}"/>
                </c:ext>
              </c:extLst>
            </c:dLbl>
            <c:dLbl>
              <c:idx val="5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48EF-4B2C-A45E-07CB64A14B3B}"/>
                </c:ext>
              </c:extLst>
            </c:dLbl>
            <c:dLbl>
              <c:idx val="51"/>
              <c:tx>
                <c:rich>
                  <a:bodyPr/>
                  <a:lstStyle/>
                  <a:p>
                    <a:fld id="{39A832D8-2D3D-472E-8ABC-B7CDFF9F397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1A92717-376E-4221-98DC-42C150169BA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A224B0FF-0E7D-40CA-A332-1C64767BF0D3}" type="CELLRANGE">
                      <a:rPr lang="en-CH"/>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F51B5490-6D54-42BE-93C8-376D7F0AAFD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522-4FFF-9E56-9731F6C7602B}"/>
                </c:ext>
              </c:extLst>
            </c:dLbl>
            <c:dLbl>
              <c:idx val="3"/>
              <c:tx>
                <c:rich>
                  <a:bodyPr/>
                  <a:lstStyle/>
                  <a:p>
                    <a:fld id="{2B8BBE49-07DF-4360-922C-7ECC0049C3B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522-4FFF-9E56-9731F6C7602B}"/>
                </c:ext>
              </c:extLst>
            </c:dLbl>
            <c:dLbl>
              <c:idx val="4"/>
              <c:tx>
                <c:rich>
                  <a:bodyPr/>
                  <a:lstStyle/>
                  <a:p>
                    <a:fld id="{6F3307B5-BEE7-4617-8B62-0E779A8777F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522-4FFF-9E56-9731F6C7602B}"/>
                </c:ext>
              </c:extLst>
            </c:dLbl>
            <c:dLbl>
              <c:idx val="5"/>
              <c:tx>
                <c:rich>
                  <a:bodyPr/>
                  <a:lstStyle/>
                  <a:p>
                    <a:fld id="{3EDE018D-CE03-43B1-BB78-E4D1057C4FB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522-4FFF-9E56-9731F6C7602B}"/>
                </c:ext>
              </c:extLst>
            </c:dLbl>
            <c:dLbl>
              <c:idx val="6"/>
              <c:tx>
                <c:rich>
                  <a:bodyPr/>
                  <a:lstStyle/>
                  <a:p>
                    <a:fld id="{830369BB-5DF2-406F-A15C-7F447F6DCF7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522-4FFF-9E56-9731F6C7602B}"/>
                </c:ext>
              </c:extLst>
            </c:dLbl>
            <c:dLbl>
              <c:idx val="7"/>
              <c:tx>
                <c:rich>
                  <a:bodyPr/>
                  <a:lstStyle/>
                  <a:p>
                    <a:fld id="{913F24A2-9D3B-4494-AF18-88C961757092}"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522-4FFF-9E56-9731F6C7602B}"/>
                </c:ext>
              </c:extLst>
            </c:dLbl>
            <c:dLbl>
              <c:idx val="8"/>
              <c:tx>
                <c:rich>
                  <a:bodyPr/>
                  <a:lstStyle/>
                  <a:p>
                    <a:fld id="{9994D60E-AC27-4AC3-A309-3BE3BBA06FC2}"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522-4FFF-9E56-9731F6C7602B}"/>
                </c:ext>
              </c:extLst>
            </c:dLbl>
            <c:dLbl>
              <c:idx val="9"/>
              <c:tx>
                <c:rich>
                  <a:bodyPr/>
                  <a:lstStyle/>
                  <a:p>
                    <a:fld id="{8A1B3278-A4A4-4604-B374-3DC560E503C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522-4FFF-9E56-9731F6C7602B}"/>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1522-4FFF-9E56-9731F6C7602B}"/>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1522-4FFF-9E56-9731F6C7602B}"/>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1522-4FFF-9E56-9731F6C7602B}"/>
                </c:ext>
              </c:extLst>
            </c:dLbl>
            <c:dLbl>
              <c:idx val="13"/>
              <c:tx>
                <c:rich>
                  <a:bodyPr/>
                  <a:lstStyle/>
                  <a:p>
                    <a:fld id="{9DFFA81F-6D53-4034-A06E-165D899D71E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522-4FFF-9E56-9731F6C7602B}"/>
                </c:ext>
              </c:extLst>
            </c:dLbl>
            <c:dLbl>
              <c:idx val="14"/>
              <c:tx>
                <c:rich>
                  <a:bodyPr/>
                  <a:lstStyle/>
                  <a:p>
                    <a:fld id="{2E6BC2E8-7949-4507-A09E-30D00DFF447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522-4FFF-9E56-9731F6C7602B}"/>
                </c:ext>
              </c:extLst>
            </c:dLbl>
            <c:dLbl>
              <c:idx val="15"/>
              <c:tx>
                <c:rich>
                  <a:bodyPr/>
                  <a:lstStyle/>
                  <a:p>
                    <a:fld id="{46895D61-2C13-439B-B38F-4709B5A64D1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522-4FFF-9E56-9731F6C7602B}"/>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1522-4FFF-9E56-9731F6C7602B}"/>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1522-4FFF-9E56-9731F6C7602B}"/>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1522-4FFF-9E56-9731F6C7602B}"/>
                </c:ext>
              </c:extLst>
            </c:dLbl>
            <c:dLbl>
              <c:idx val="19"/>
              <c:tx>
                <c:rich>
                  <a:bodyPr/>
                  <a:lstStyle/>
                  <a:p>
                    <a:fld id="{BD19C206-FC9B-4DA5-90EE-4937A6016D5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522-4FFF-9E56-9731F6C7602B}"/>
                </c:ext>
              </c:extLst>
            </c:dLbl>
            <c:dLbl>
              <c:idx val="20"/>
              <c:tx>
                <c:rich>
                  <a:bodyPr/>
                  <a:lstStyle/>
                  <a:p>
                    <a:fld id="{15CC88DE-2172-438E-B7C0-E344C607CE5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1522-4FFF-9E56-9731F6C7602B}"/>
                </c:ext>
              </c:extLst>
            </c:dLbl>
            <c:dLbl>
              <c:idx val="21"/>
              <c:tx>
                <c:rich>
                  <a:bodyPr/>
                  <a:lstStyle/>
                  <a:p>
                    <a:fld id="{AE4A93A9-FF5F-4D5A-84A4-090FBD3C64E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522-4FFF-9E56-9731F6C7602B}"/>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1522-4FFF-9E56-9731F6C7602B}"/>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1522-4FFF-9E56-9731F6C7602B}"/>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522-4FFF-9E56-9731F6C7602B}"/>
                </c:ext>
              </c:extLst>
            </c:dLbl>
            <c:dLbl>
              <c:idx val="25"/>
              <c:tx>
                <c:rich>
                  <a:bodyPr/>
                  <a:lstStyle/>
                  <a:p>
                    <a:fld id="{6BAB147A-5877-4E8E-A7B2-16FFD1981FA7}"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522-4FFF-9E56-9731F6C7602B}"/>
                </c:ext>
              </c:extLst>
            </c:dLbl>
            <c:dLbl>
              <c:idx val="26"/>
              <c:tx>
                <c:rich>
                  <a:bodyPr/>
                  <a:lstStyle/>
                  <a:p>
                    <a:fld id="{BEBFDADD-0D99-4987-A4FC-66402988A77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1522-4FFF-9E56-9731F6C7602B}"/>
                </c:ext>
              </c:extLst>
            </c:dLbl>
            <c:dLbl>
              <c:idx val="27"/>
              <c:tx>
                <c:rich>
                  <a:bodyPr/>
                  <a:lstStyle/>
                  <a:p>
                    <a:fld id="{A09EBFA7-5593-42CE-91F6-31E42625F76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522-4FFF-9E56-9731F6C7602B}"/>
                </c:ext>
              </c:extLst>
            </c:dLbl>
            <c:dLbl>
              <c:idx val="28"/>
              <c:tx>
                <c:rich>
                  <a:bodyPr/>
                  <a:lstStyle/>
                  <a:p>
                    <a:fld id="{17699F04-0656-4848-9E7A-0B8BB82451A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1522-4FFF-9E56-9731F6C7602B}"/>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1522-4FFF-9E56-9731F6C7602B}"/>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1522-4FFF-9E56-9731F6C7602B}"/>
                </c:ext>
              </c:extLst>
            </c:dLbl>
            <c:dLbl>
              <c:idx val="31"/>
              <c:tx>
                <c:rich>
                  <a:bodyPr/>
                  <a:lstStyle/>
                  <a:p>
                    <a:fld id="{27424BD0-4DA7-4C65-A593-C04EEB0E6A6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522-4FFF-9E56-9731F6C7602B}"/>
                </c:ext>
              </c:extLst>
            </c:dLbl>
            <c:dLbl>
              <c:idx val="32"/>
              <c:tx>
                <c:rich>
                  <a:bodyPr/>
                  <a:lstStyle/>
                  <a:p>
                    <a:fld id="{8075CF5A-1023-4BA9-B15B-88168206F43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1522-4FFF-9E56-9731F6C7602B}"/>
                </c:ext>
              </c:extLst>
            </c:dLbl>
            <c:dLbl>
              <c:idx val="33"/>
              <c:tx>
                <c:rich>
                  <a:bodyPr/>
                  <a:lstStyle/>
                  <a:p>
                    <a:fld id="{365C5D7F-52D0-4549-8E2B-28367916417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522-4FFF-9E56-9731F6C7602B}"/>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1522-4FFF-9E56-9731F6C7602B}"/>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1522-4FFF-9E56-9731F6C7602B}"/>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1522-4FFF-9E56-9731F6C7602B}"/>
                </c:ext>
              </c:extLst>
            </c:dLbl>
            <c:dLbl>
              <c:idx val="37"/>
              <c:tx>
                <c:rich>
                  <a:bodyPr/>
                  <a:lstStyle/>
                  <a:p>
                    <a:fld id="{A184DF65-51E1-4CA3-A42D-46FD7EE7F95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522-4FFF-9E56-9731F6C7602B}"/>
                </c:ext>
              </c:extLst>
            </c:dLbl>
            <c:dLbl>
              <c:idx val="38"/>
              <c:tx>
                <c:rich>
                  <a:bodyPr/>
                  <a:lstStyle/>
                  <a:p>
                    <a:fld id="{600A5A84-41A7-44B1-8C17-F675CB1CC0A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2063599D-6619-4888-B5DD-2EF72322BA8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522-4FFF-9E56-9731F6C7602B}"/>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1522-4FFF-9E56-9731F6C7602B}"/>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1522-4FFF-9E56-9731F6C7602B}"/>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1522-4FFF-9E56-9731F6C7602B}"/>
                </c:ext>
              </c:extLst>
            </c:dLbl>
            <c:dLbl>
              <c:idx val="43"/>
              <c:tx>
                <c:rich>
                  <a:bodyPr/>
                  <a:lstStyle/>
                  <a:p>
                    <a:fld id="{D7271B72-6EE4-4FCD-B219-2F1F607E643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1522-4FFF-9E56-9731F6C7602B}"/>
                </c:ext>
              </c:extLst>
            </c:dLbl>
            <c:dLbl>
              <c:idx val="44"/>
              <c:tx>
                <c:rich>
                  <a:bodyPr/>
                  <a:lstStyle/>
                  <a:p>
                    <a:fld id="{97B21CAC-1E86-4280-937E-8E71DDE5739F}"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1522-4FFF-9E56-9731F6C7602B}"/>
                </c:ext>
              </c:extLst>
            </c:dLbl>
            <c:dLbl>
              <c:idx val="45"/>
              <c:tx>
                <c:rich>
                  <a:bodyPr/>
                  <a:lstStyle/>
                  <a:p>
                    <a:fld id="{37BB65E0-D7DA-4C4E-9C6C-B8A0F5EB5CC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1522-4FFF-9E56-9731F6C7602B}"/>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1522-4FFF-9E56-9731F6C7602B}"/>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1522-4FFF-9E56-9731F6C7602B}"/>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1522-4FFF-9E56-9731F6C7602B}"/>
                </c:ext>
              </c:extLst>
            </c:dLbl>
            <c:dLbl>
              <c:idx val="49"/>
              <c:tx>
                <c:rich>
                  <a:bodyPr/>
                  <a:lstStyle/>
                  <a:p>
                    <a:fld id="{1CC2700F-1BC2-4726-82A8-7AECF4AF6AA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1522-4FFF-9E56-9731F6C7602B}"/>
                </c:ext>
              </c:extLst>
            </c:dLbl>
            <c:dLbl>
              <c:idx val="50"/>
              <c:tx>
                <c:rich>
                  <a:bodyPr/>
                  <a:lstStyle/>
                  <a:p>
                    <a:fld id="{EC99111A-55F6-4905-9212-1B59F5432A8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1522-4FFF-9E56-9731F6C7602B}"/>
                </c:ext>
              </c:extLst>
            </c:dLbl>
            <c:dLbl>
              <c:idx val="51"/>
              <c:tx>
                <c:rich>
                  <a:bodyPr/>
                  <a:lstStyle/>
                  <a:p>
                    <a:fld id="{405CA8C7-1B21-4BF6-9F43-F97AE5DE49D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1/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21/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37946498"/>
              </p:ext>
            </p:extLst>
          </p:nvPr>
        </p:nvGraphicFramePr>
        <p:xfrm>
          <a:off x="496832" y="1140421"/>
          <a:ext cx="8147060" cy="3591917"/>
        </p:xfrm>
        <a:graphic>
          <a:graphicData uri="http://schemas.openxmlformats.org/drawingml/2006/table">
            <a:tbl>
              <a:tblPr firstRow="1" bandRow="1">
                <a:tableStyleId>{5C22544A-7EE6-4342-B048-85BDC9FD1C3A}</a:tableStyleId>
              </a:tblPr>
              <a:tblGrid>
                <a:gridCol w="1629412">
                  <a:extLst>
                    <a:ext uri="{9D8B030D-6E8A-4147-A177-3AD203B41FA5}">
                      <a16:colId xmlns:a16="http://schemas.microsoft.com/office/drawing/2014/main" val="654108321"/>
                    </a:ext>
                  </a:extLst>
                </a:gridCol>
                <a:gridCol w="1629412">
                  <a:extLst>
                    <a:ext uri="{9D8B030D-6E8A-4147-A177-3AD203B41FA5}">
                      <a16:colId xmlns:a16="http://schemas.microsoft.com/office/drawing/2014/main" val="2577239026"/>
                    </a:ext>
                  </a:extLst>
                </a:gridCol>
                <a:gridCol w="1629412">
                  <a:extLst>
                    <a:ext uri="{9D8B030D-6E8A-4147-A177-3AD203B41FA5}">
                      <a16:colId xmlns:a16="http://schemas.microsoft.com/office/drawing/2014/main" val="1241509968"/>
                    </a:ext>
                  </a:extLst>
                </a:gridCol>
                <a:gridCol w="1629412">
                  <a:extLst>
                    <a:ext uri="{9D8B030D-6E8A-4147-A177-3AD203B41FA5}">
                      <a16:colId xmlns:a16="http://schemas.microsoft.com/office/drawing/2014/main" val="857200868"/>
                    </a:ext>
                  </a:extLst>
                </a:gridCol>
                <a:gridCol w="1629412">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3792627937"/>
              </p:ext>
            </p:extLst>
          </p:nvPr>
        </p:nvGraphicFramePr>
        <p:xfrm>
          <a:off x="5385787" y="1487345"/>
          <a:ext cx="1612924" cy="32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3225666939"/>
              </p:ext>
            </p:extLst>
          </p:nvPr>
        </p:nvGraphicFramePr>
        <p:xfrm>
          <a:off x="7014031" y="1487345"/>
          <a:ext cx="1612924" cy="32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21/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21/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r>
              <a:rPr lang="en-GB" dirty="0"/>
              <a:t>consumption if total size &gt; threshold</a:t>
            </a:r>
            <a:endParaRPr lang="en-US" dirty="0"/>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9/21/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9/21/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21/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1/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1/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1/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1/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21/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21/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1/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1/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1/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21/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21/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Rank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21/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21/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B99D6BF8-7FB5-6564-6543-3CFF5B6DB850}"/>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21/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134FBE35-BB2F-B6D5-5695-620060B51026}"/>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21/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627</Words>
  <Application>Microsoft Office PowerPoint</Application>
  <PresentationFormat>On-screen Show (16:9)</PresentationFormat>
  <Paragraphs>1218</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i SALEM</cp:lastModifiedBy>
  <cp:revision>62</cp:revision>
  <dcterms:created xsi:type="dcterms:W3CDTF">2024-07-08T12:46:55Z</dcterms:created>
  <dcterms:modified xsi:type="dcterms:W3CDTF">2025-09-21T11:4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